
<file path=[Content_Types].xml><?xml version="1.0" encoding="utf-8"?>
<Types xmlns="http://schemas.openxmlformats.org/package/2006/content-types">
  <Default Extension="bin" ContentType="application/vnd.openxmlformats-officedocument.oleObject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5084" r:id="rId4"/>
  </p:sldMasterIdLst>
  <p:notesMasterIdLst>
    <p:notesMasterId r:id="rId20"/>
  </p:notesMasterIdLst>
  <p:handoutMasterIdLst>
    <p:handoutMasterId r:id="rId21"/>
  </p:handoutMasterIdLst>
  <p:sldIdLst>
    <p:sldId id="260" r:id="rId5"/>
    <p:sldId id="262" r:id="rId6"/>
    <p:sldId id="263" r:id="rId7"/>
    <p:sldId id="264" r:id="rId8"/>
    <p:sldId id="265" r:id="rId9"/>
    <p:sldId id="266" r:id="rId10"/>
    <p:sldId id="267" r:id="rId11"/>
    <p:sldId id="268" r:id="rId12"/>
    <p:sldId id="269" r:id="rId13"/>
    <p:sldId id="270" r:id="rId14"/>
    <p:sldId id="271" r:id="rId15"/>
    <p:sldId id="274" r:id="rId16"/>
    <p:sldId id="272" r:id="rId17"/>
    <p:sldId id="273" r:id="rId18"/>
    <p:sldId id="261" r:id="rId19"/>
  </p:sldIdLst>
  <p:sldSz cx="12192000" cy="6858000"/>
  <p:notesSz cx="6797675" cy="9926638"/>
  <p:embeddedFontLst>
    <p:embeddedFont>
      <p:font typeface="Calibri" panose="020F0502020204030204" pitchFamily="34" charset="0"/>
      <p:regular r:id="rId22"/>
      <p:bold r:id="rId23"/>
      <p:italic r:id="rId24"/>
      <p:boldItalic r:id="rId25"/>
    </p:embeddedFont>
    <p:embeddedFont>
      <p:font typeface="Noto Sans" panose="020B0502040504020204" pitchFamily="34" charset="0"/>
      <p:regular r:id="rId26"/>
      <p:bold r:id="rId27"/>
      <p:italic r:id="rId28"/>
      <p:boldItalic r:id="rId29"/>
    </p:embeddedFont>
    <p:embeddedFont>
      <p:font typeface="OoredooArabic-Heavy" panose="020B0604020202020204" charset="-78"/>
      <p:bold r:id="rId30"/>
    </p:embeddedFont>
    <p:embeddedFont>
      <p:font typeface="Outfit ExtraBold" pitchFamily="2" charset="0"/>
      <p:bold r:id="rId31"/>
    </p:embeddedFont>
    <p:embeddedFont>
      <p:font typeface="Rubik" pitchFamily="2" charset="-79"/>
      <p:regular r:id="rId32"/>
      <p:bold r:id="rId33"/>
      <p:italic r:id="rId34"/>
      <p:boldItalic r:id="rId35"/>
    </p:embeddedFont>
    <p:embeddedFont>
      <p:font typeface="Rubik SemiBold" pitchFamily="2" charset="-79"/>
      <p:regular r:id="rId36"/>
      <p:bold r:id="rId37"/>
      <p:italic r:id="rId38"/>
      <p:boldItalic r:id="rId39"/>
    </p:embeddedFont>
  </p:embeddedFont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A992"/>
    <a:srgbClr val="00416A"/>
    <a:srgbClr val="3CDBC0"/>
    <a:srgbClr val="2CD5C4"/>
    <a:srgbClr val="65C4DB"/>
    <a:srgbClr val="FFFFFF"/>
    <a:srgbClr val="DFDFE1"/>
    <a:srgbClr val="FFD500"/>
    <a:srgbClr val="333F48"/>
    <a:srgbClr val="ED1C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3497" autoAdjust="0"/>
  </p:normalViewPr>
  <p:slideViewPr>
    <p:cSldViewPr snapToGrid="0" snapToObjects="1">
      <p:cViewPr varScale="1">
        <p:scale>
          <a:sx n="114" d="100"/>
          <a:sy n="114" d="100"/>
        </p:scale>
        <p:origin x="414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74" d="100"/>
          <a:sy n="74" d="100"/>
        </p:scale>
        <p:origin x="2124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5.fntdata"/><Relationship Id="rId39" Type="http://schemas.openxmlformats.org/officeDocument/2006/relationships/font" Target="fonts/font18.fntdata"/><Relationship Id="rId21" Type="http://schemas.openxmlformats.org/officeDocument/2006/relationships/handoutMaster" Target="handoutMasters/handoutMaster1.xml"/><Relationship Id="rId34" Type="http://schemas.openxmlformats.org/officeDocument/2006/relationships/font" Target="fonts/font13.fntdata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8.fntdata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font" Target="fonts/font16.fntdata"/><Relationship Id="rId40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font" Target="fonts/font15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10.fntdata"/><Relationship Id="rId44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font" Target="fonts/font14.fntdata"/><Relationship Id="rId43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4.fntdata"/><Relationship Id="rId33" Type="http://schemas.openxmlformats.org/officeDocument/2006/relationships/font" Target="fonts/font12.fntdata"/><Relationship Id="rId38" Type="http://schemas.openxmlformats.org/officeDocument/2006/relationships/font" Target="fonts/font17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233B2D-7EE6-40D0-B8E5-54FD5F46DDA6}" type="datetimeFigureOut">
              <a:rPr lang="en-US" smtClean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/25/2025</a:t>
            </a:fld>
            <a:endParaRPr lang="en-US" dirty="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962666-3E3A-4044-82EF-DED745118DC3}" type="slidenum">
              <a:rPr lang="en-US" smtClean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‹N°›</a:t>
            </a:fld>
            <a:endParaRPr lang="en-US" dirty="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5199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1A70E0C9-048D-4F47-870E-3BFCAC7E8546}" type="datetimeFigureOut">
              <a:rPr lang="en-US" smtClean="0"/>
              <a:pPr/>
              <a:t>2/25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832"/>
            <a:ext cx="5438140" cy="4466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272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272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E18BF02C-2B30-4A7F-9DCE-38E6C5A43D8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306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Noto Sans" panose="020B0502040504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Noto Sans" panose="020B0502040504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Noto Sans" panose="020B0502040504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Noto Sans" panose="020B0502040504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Noto Sans" panose="020B0502040504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OREDOO FIFA AUTO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9A7A34E-E389-FA7F-2CC5-14D59256A6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9" y="981075"/>
            <a:ext cx="8388350" cy="2358348"/>
          </a:xfrm>
        </p:spPr>
        <p:txBody>
          <a:bodyPr wrap="square" lIns="0" tIns="0" rIns="0" bIns="0" anchor="t">
            <a:normAutofit/>
          </a:bodyPr>
          <a:lstStyle>
            <a:lvl1pPr>
              <a:lnSpc>
                <a:spcPct val="80000"/>
              </a:lnSpc>
              <a:defRPr sz="66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931A31-C6E7-A6C6-A65A-5A057DE3BC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3845886"/>
            <a:ext cx="8388351" cy="68897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Tx/>
              <a:buNone/>
              <a:defRPr kumimoji="0" lang="en-US" sz="2800" b="1" i="0" u="none" strike="noStrike" cap="none" spc="0" normalizeH="0" baseline="0" dirty="0" smtClean="0">
                <a:ln>
                  <a:noFill/>
                </a:ln>
                <a:effectLst/>
                <a:uFillTx/>
                <a:latin typeface="Rubik SemiBold" pitchFamily="2" charset="-79"/>
                <a:ea typeface="+mj-ea"/>
                <a:cs typeface="Rubik SemiBold" pitchFamily="2" charset="-79"/>
                <a:sym typeface="Helvetica Neue"/>
              </a:defRPr>
            </a:lvl1pPr>
          </a:lstStyle>
          <a:p>
            <a:pPr marR="0" lvl="0" fontAlgn="auto"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-title</a:t>
            </a:r>
          </a:p>
        </p:txBody>
      </p:sp>
      <p:sp>
        <p:nvSpPr>
          <p:cNvPr id="11" name="Shape 17">
            <a:extLst>
              <a:ext uri="{FF2B5EF4-FFF2-40B4-BE49-F238E27FC236}">
                <a16:creationId xmlns:a16="http://schemas.microsoft.com/office/drawing/2014/main" id="{531E94DB-C1A2-0CF8-140E-8C31EA34A100}"/>
              </a:ext>
            </a:extLst>
          </p:cNvPr>
          <p:cNvSpPr txBox="1">
            <a:spLocks noGrp="1"/>
          </p:cNvSpPr>
          <p:nvPr>
            <p:ph type="body" idx="4" hasCustomPrompt="1"/>
          </p:nvPr>
        </p:nvSpPr>
        <p:spPr>
          <a:xfrm>
            <a:off x="623888" y="6108250"/>
            <a:ext cx="673749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name / Department / Author </a:t>
            </a:r>
            <a:endParaRPr dirty="0"/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9BAD04AF-ABFC-B3A1-037F-C6D069E3AB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382" b="18661"/>
          <a:stretch/>
        </p:blipFill>
        <p:spPr>
          <a:xfrm>
            <a:off x="6524288" y="4956346"/>
            <a:ext cx="5168951" cy="135500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D62EE3B-8B6A-B367-06E3-C76FB7AB4911}"/>
              </a:ext>
            </a:extLst>
          </p:cNvPr>
          <p:cNvSpPr/>
          <p:nvPr userDrawn="1"/>
        </p:nvSpPr>
        <p:spPr bwMode="auto">
          <a:xfrm>
            <a:off x="623888" y="5797875"/>
            <a:ext cx="4339304" cy="27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91425" rIns="91425" bIns="91425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704850" eaLnBrk="1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40000"/>
              <a:buFont typeface="Arial"/>
              <a:buNone/>
            </a:pPr>
            <a:fld id="{BE19E785-B894-4E67-AB06-B432AD4D2C5B}" type="datetime4">
              <a:rPr lang="en-GB" sz="1600" b="0" i="0" u="none" strike="noStrike" cap="none" smtClean="0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25 February 2025</a:t>
            </a:fld>
            <a:endParaRPr lang="en-GB" sz="1600" b="0" i="0" u="none" strike="noStrike" cap="none" dirty="0" err="1">
              <a:solidFill>
                <a:schemeClr val="bg1"/>
              </a:solidFill>
              <a:latin typeface="+mj-lt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164218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FBBF3E0-0AEF-7629-D5E0-BB643CDE76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EC39553-85C1-01BC-FD69-1D59B6C552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C8FCE16A-D11A-C5FF-B058-733CFBD2FA1F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1F45B80-5E70-4660-3CEA-21F98B403CD1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442FA1E7-EC98-6026-23AC-7988C7C5D9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C9BADF3-C56D-BE41-E1B0-797A645353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39074349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67D39BF-5196-A8B9-3955-C431CA0302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5575BD6C-F877-B7A0-ACC9-8755B2559B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5" name="Shape 16">
            <a:extLst>
              <a:ext uri="{FF2B5EF4-FFF2-40B4-BE49-F238E27FC236}">
                <a16:creationId xmlns:a16="http://schemas.microsoft.com/office/drawing/2014/main" id="{A62C5426-4C4C-F727-1D92-95C8AE77B1A7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40AE1A-83ED-5DAB-838F-B96413517448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24089AD4-4C1B-21D9-70F4-5BA768F49F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24EBF1F-EF57-CBCD-42F2-6D6513FF6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1456192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3A2B2A4-FE95-DFDF-31BC-C1E06AD0E7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08501183-7F61-5D6A-A854-E2B01CFD94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0E08032C-0297-AF59-03EA-0EBF72942962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CA8828E-F599-2C56-2997-178C4E61D454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4D6C3BF8-5A62-5FEF-8767-720242ADE1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C78BDB7-7475-8605-E025-2CE67E1D67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982518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OREDOO FIF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0AACE03-64E9-BDFD-670A-D437EBA107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AB432F88-4941-A436-DA02-0D569D0750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382" b="18661"/>
          <a:stretch/>
        </p:blipFill>
        <p:spPr>
          <a:xfrm>
            <a:off x="6524288" y="4956346"/>
            <a:ext cx="5168951" cy="135500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623DD42-452D-8803-ABF2-9B0892A22AE6}"/>
              </a:ext>
            </a:extLst>
          </p:cNvPr>
          <p:cNvSpPr/>
          <p:nvPr userDrawn="1"/>
        </p:nvSpPr>
        <p:spPr bwMode="auto">
          <a:xfrm>
            <a:off x="623888" y="1801093"/>
            <a:ext cx="5472112" cy="2660073"/>
          </a:xfrm>
          <a:prstGeom prst="rect">
            <a:avLst/>
          </a:prstGeom>
          <a:solidFill>
            <a:srgbClr val="ED1C2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79488" rtl="0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n-GB" sz="7200" b="1" kern="1200" cap="all" baseline="0" dirty="0">
                <a:solidFill>
                  <a:schemeClr val="bg1"/>
                </a:solidFill>
                <a:latin typeface="Outfit ExtraBold" pitchFamily="2" charset="0"/>
                <a:cs typeface="Rubik" pitchFamily="2" charset="-79"/>
              </a:rPr>
              <a:t>THANK YOU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E60F96F-CB04-2D6B-A0ED-96123A166C5D}"/>
              </a:ext>
            </a:extLst>
          </p:cNvPr>
          <p:cNvSpPr/>
          <p:nvPr userDrawn="1"/>
        </p:nvSpPr>
        <p:spPr bwMode="auto">
          <a:xfrm>
            <a:off x="6960394" y="5622131"/>
            <a:ext cx="61912" cy="90488"/>
          </a:xfrm>
          <a:custGeom>
            <a:avLst/>
            <a:gdLst>
              <a:gd name="connsiteX0" fmla="*/ 0 w 61912"/>
              <a:gd name="connsiteY0" fmla="*/ 0 h 90488"/>
              <a:gd name="connsiteX1" fmla="*/ 47625 w 61912"/>
              <a:gd name="connsiteY1" fmla="*/ 23813 h 90488"/>
              <a:gd name="connsiteX2" fmla="*/ 61912 w 61912"/>
              <a:gd name="connsiteY2" fmla="*/ 50007 h 90488"/>
              <a:gd name="connsiteX3" fmla="*/ 14287 w 61912"/>
              <a:gd name="connsiteY3" fmla="*/ 90488 h 90488"/>
              <a:gd name="connsiteX4" fmla="*/ 0 w 61912"/>
              <a:gd name="connsiteY4" fmla="*/ 0 h 90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912" h="90488">
                <a:moveTo>
                  <a:pt x="0" y="0"/>
                </a:moveTo>
                <a:lnTo>
                  <a:pt x="47625" y="23813"/>
                </a:lnTo>
                <a:lnTo>
                  <a:pt x="61912" y="50007"/>
                </a:lnTo>
                <a:lnTo>
                  <a:pt x="14287" y="90488"/>
                </a:lnTo>
                <a:lnTo>
                  <a:pt x="0" y="0"/>
                </a:lnTo>
                <a:close/>
              </a:path>
            </a:pathLst>
          </a:cu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79488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n-GB" sz="1600" b="1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3339335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OREDO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BC2092C-1F68-548F-11C2-A257049F83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3E24AE7-3482-4E87-CEF6-82A9499EF134}"/>
              </a:ext>
            </a:extLst>
          </p:cNvPr>
          <p:cNvSpPr/>
          <p:nvPr userDrawn="1"/>
        </p:nvSpPr>
        <p:spPr bwMode="auto">
          <a:xfrm>
            <a:off x="623888" y="1801093"/>
            <a:ext cx="5472112" cy="2660073"/>
          </a:xfrm>
          <a:prstGeom prst="rect">
            <a:avLst/>
          </a:prstGeom>
          <a:solidFill>
            <a:srgbClr val="ED1C2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79488" rtl="0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n-GB" sz="7200" b="1" kern="1200" cap="all" baseline="0" dirty="0">
                <a:solidFill>
                  <a:schemeClr val="bg1"/>
                </a:solidFill>
                <a:latin typeface="Outfit ExtraBold" pitchFamily="2" charset="0"/>
                <a:cs typeface="Rubik" pitchFamily="2" charset="-79"/>
              </a:rPr>
              <a:t>THANK YOU</a:t>
            </a:r>
          </a:p>
        </p:txBody>
      </p:sp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29E6D196-BF13-B14A-5E42-7DF2C4B71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4305" t="25059" r="12861" b="31721"/>
          <a:stretch/>
        </p:blipFill>
        <p:spPr>
          <a:xfrm>
            <a:off x="8100904" y="5304012"/>
            <a:ext cx="3593275" cy="96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52868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1E2F279-4717-9675-CCD8-8D532C9901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E799226E-0ADB-20BF-F1E9-C1F81F321B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8AD559A5-4468-59AA-52D2-27FAC7F45E58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bg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4A36F8C-D736-BCD7-80BC-08E596705D48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CC5B1AE2-3422-835C-3716-6E5FE0144A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7E8E174-6EF9-0FF9-40BC-211AD54EF2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8204275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15373B9-3194-740F-D742-D18EF4F8F4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8F33CC4B-82DC-D4B6-695D-546CAC2EC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A5B6705D-7448-AD56-D71F-D58AA8540ADD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bg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4C2C73C-B63F-6C6A-D7F3-685A9C47A3DD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300A284B-C33C-72DA-FE7B-B1F5CC7053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3DB3FADF-EEC4-FC02-0A1C-3CCEC2E24B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6647651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54CFD49-7F7D-D913-EACC-A004BBBD01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FCA9E68B-F9A4-F6F5-D76B-B5C533CEFC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Shape 16">
            <a:extLst>
              <a:ext uri="{FF2B5EF4-FFF2-40B4-BE49-F238E27FC236}">
                <a16:creationId xmlns:a16="http://schemas.microsoft.com/office/drawing/2014/main" id="{26012CC8-44F4-1175-1981-B04BE9252A8B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bg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5462FF9-F3A7-5F85-9F20-A1249A617CE4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016D7CB6-E95E-5510-2F36-2C0229B414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" name="Oval 6">
              <a:extLst>
                <a:ext uri="{FF2B5EF4-FFF2-40B4-BE49-F238E27FC236}">
                  <a16:creationId xmlns:a16="http://schemas.microsoft.com/office/drawing/2014/main" id="{2DE8A9D3-B501-6D0B-4292-6A3936365D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3594843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4990E30-652D-9507-1560-D4B9945E97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59419ECB-AE4E-E48D-95BE-D3E3B6748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2E0273B1-B805-6360-25FB-5AA0CB2B76B3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D6C89F1-2FDC-A010-1B51-6BEB18126A13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1379569C-EC10-AEDE-3319-D5913ACC76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BBE9287-61DF-FB20-2BCF-CF456F1B80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0225540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A599B6F-2DE0-991D-A25F-8E49DB46E1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FA33C5D1-1B2D-9474-E9C0-3F7EF04044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44F853FB-C299-9F2C-B5FE-29243E840D5C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DC44D1C-5F92-400D-9314-C9A75042C002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FA50A2E5-03A0-35B2-3188-3B35F32037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B83510DC-242C-6751-1B7C-0A4D62BB01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4406332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OREDOO AUTO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546B72D-11C6-2475-2FE3-632802BEF7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9" y="981075"/>
            <a:ext cx="8388350" cy="2358348"/>
          </a:xfrm>
        </p:spPr>
        <p:txBody>
          <a:bodyPr wrap="square" lIns="0" tIns="0" rIns="0" bIns="0" anchor="t">
            <a:normAutofit/>
          </a:bodyPr>
          <a:lstStyle>
            <a:lvl1pPr>
              <a:lnSpc>
                <a:spcPct val="80000"/>
              </a:lnSpc>
              <a:defRPr sz="66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931A31-C6E7-A6C6-A65A-5A057DE3BC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3845887"/>
            <a:ext cx="8388352" cy="68897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Tx/>
              <a:buNone/>
              <a:defRPr kumimoji="0" lang="en-US" sz="2800" b="1" i="0" u="none" strike="noStrike" cap="none" spc="0" normalizeH="0" baseline="0" dirty="0" smtClean="0">
                <a:ln>
                  <a:noFill/>
                </a:ln>
                <a:effectLst/>
                <a:uFillTx/>
                <a:latin typeface="Rubik SemiBold" pitchFamily="2" charset="-79"/>
                <a:ea typeface="+mj-ea"/>
                <a:cs typeface="Rubik SemiBold" pitchFamily="2" charset="-79"/>
                <a:sym typeface="Helvetica Neue"/>
              </a:defRPr>
            </a:lvl1pPr>
          </a:lstStyle>
          <a:p>
            <a:pPr marR="0" lvl="0" fontAlgn="auto"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-title</a:t>
            </a:r>
          </a:p>
        </p:txBody>
      </p:sp>
      <p:sp>
        <p:nvSpPr>
          <p:cNvPr id="11" name="Shape 17">
            <a:extLst>
              <a:ext uri="{FF2B5EF4-FFF2-40B4-BE49-F238E27FC236}">
                <a16:creationId xmlns:a16="http://schemas.microsoft.com/office/drawing/2014/main" id="{531E94DB-C1A2-0CF8-140E-8C31EA34A100}"/>
              </a:ext>
            </a:extLst>
          </p:cNvPr>
          <p:cNvSpPr txBox="1">
            <a:spLocks noGrp="1"/>
          </p:cNvSpPr>
          <p:nvPr>
            <p:ph type="body" idx="4" hasCustomPrompt="1"/>
          </p:nvPr>
        </p:nvSpPr>
        <p:spPr>
          <a:xfrm>
            <a:off x="623888" y="6108250"/>
            <a:ext cx="673749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name / Department / Author </a:t>
            </a:r>
            <a:endParaRPr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74C535A-A025-6F92-F778-E8CDAFFBAD20}"/>
              </a:ext>
            </a:extLst>
          </p:cNvPr>
          <p:cNvSpPr/>
          <p:nvPr userDrawn="1"/>
        </p:nvSpPr>
        <p:spPr bwMode="auto">
          <a:xfrm>
            <a:off x="623888" y="5797875"/>
            <a:ext cx="4339304" cy="27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91425" rIns="91425" bIns="91425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704850" eaLnBrk="1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40000"/>
              <a:buFont typeface="Arial"/>
              <a:buNone/>
            </a:pPr>
            <a:fld id="{BE19E785-B894-4E67-AB06-B432AD4D2C5B}" type="datetime4">
              <a:rPr lang="en-GB" sz="1600" b="0" i="0" u="none" strike="noStrike" cap="none" smtClean="0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25 February 2025</a:t>
            </a:fld>
            <a:endParaRPr lang="en-GB" sz="1600" b="0" i="0" u="none" strike="noStrike" cap="none" dirty="0" err="1">
              <a:solidFill>
                <a:schemeClr val="bg1"/>
              </a:solidFill>
              <a:latin typeface="+mj-lt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2" name="Picture 1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2024D02B-A6FC-1E35-5B43-DCA4ADCFA7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4305" t="25059" r="12861" b="31721"/>
          <a:stretch/>
        </p:blipFill>
        <p:spPr>
          <a:xfrm>
            <a:off x="8100904" y="5304012"/>
            <a:ext cx="3593275" cy="96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43497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9F6A092-1A1D-1C14-BA04-FDA6CC5F77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77D7F22C-8DC0-0741-79BA-2C2E7E0E61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03DBC345-9207-2A88-8448-D79D50898D87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0B30E6A-BCB9-3163-AF71-457051A44AF0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11CA028C-28A2-DB40-357E-7A8C3DF421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8313403F-C92F-A4A5-87AE-EB31B5574F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90682788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2C8245B9-4934-2A64-4D8B-4B9C8BAAA1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888FFBF-88EE-9398-8356-C591E8080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DBA9D6D3-8D51-6FBB-BFF6-B5D3A54CC693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431A610-9635-3C30-12F1-6A5C6F99FBCE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D6DA5D0B-4767-420B-0683-E56E07685C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2485F011-28E1-8D4E-2A1F-256081FD4E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86096675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17AA897-2C9C-C6FF-0839-0807F6BDC6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CBADE63-5F46-65BA-8806-2A162159C8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F11D7D84-1E7C-8774-E85D-627C8195B68B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3B0B2BB-7B9B-C74D-B54C-6458D424CBBE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AEEFB391-3876-6569-8382-2AF9B85810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7E6C506-B944-8824-F1CE-6EA9B113BE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88091422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208D724-0A54-3D81-6ECF-0A27C6C376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4B68EB9A-CDC0-99C0-BA36-30EABB843D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937DD764-1401-5CF9-90F6-33CA7CE09A6E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54C4A05-772C-1740-689C-8C3FAA4E473A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E4540F36-5C2F-BE8A-3D82-BB3B8B52A1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6933303-621B-15DC-7D2B-A1892BE673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2813155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D9AC33E9-0B6B-4CE3-EF92-B22A1074E6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0134BCF6-AAA2-A2AF-FC69-7C2552B124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25D1B542-CCC6-72DE-BAED-FEEB72F49E55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AA24374-D31B-7720-9BBA-A3E6163724A0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01D59E9F-DD4E-6DDA-ED21-5026632D0A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8BF48EA7-5E2B-555D-2CF1-6B60B514C6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5154856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1DDEA43-D01D-7178-4AD3-BB7CC993E8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D4C67964-6777-DD83-F67A-7DB4A703AF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B0CFAA65-671D-0C45-B80F-4CE5A1A2A13F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3E0E952-BB1D-5FDF-CDD6-012772DCE2BA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AC6D0D3B-C554-A39E-3843-2D978AC29D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348AB146-A98D-0CB7-40F1-B0520EF85D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5550920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E63B096-0868-6E6A-C7AC-080D3C1DCD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A57681F-15BA-F793-D5F7-E2985C193E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BE94A324-DC4F-E822-A113-4C63F178349C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6C9D3FC-1F83-D8CD-8439-BEA9D5DA9085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0F95839A-8D16-5BB2-221B-E007AC6617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D2684AE-2CED-1D27-62F0-C36A271909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5246810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10312" marR="0" indent="-274320" algn="l" defTabSz="70485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ED1C24"/>
              </a:buClr>
              <a:buSzPct val="125000"/>
              <a:buFont typeface="+mj-lt"/>
              <a:buAutoNum type="arabicPeriod"/>
              <a:tabLst/>
              <a:defRPr/>
            </a:lvl1pPr>
            <a:lvl2pPr marL="54864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lvl2pPr>
            <a:lvl3pPr marL="82296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lvl3pPr>
            <a:lvl4pPr marL="109728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lvl4pPr>
            <a:lvl5pPr marL="137160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000"/>
            </a:lvl5pPr>
            <a:lvl6pPr marL="164592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lvl6pPr>
            <a:lvl7pPr marL="192024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lvl7pPr>
            <a:lvl8pPr marL="219456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1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2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3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4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5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6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7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8"/>
            <a:r>
              <a:rPr lang="fr-FR" dirty="0"/>
              <a:t>Lorem ipsum</a:t>
            </a:r>
            <a:endParaRPr lang="en-US" dirty="0"/>
          </a:p>
        </p:txBody>
      </p:sp>
      <p:sp>
        <p:nvSpPr>
          <p:cNvPr id="10" name="Title Placeholder 1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BCCB7A99-BC73-45EC-BCF6-67FFEA14AAA8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18237493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/>
            </a:lvl1pPr>
            <a:lvl2pPr marL="205740" indent="0">
              <a:lnSpc>
                <a:spcPct val="100000"/>
              </a:lnSpc>
              <a:spcBef>
                <a:spcPts val="450"/>
              </a:spcBef>
              <a:buNone/>
              <a:defRPr/>
            </a:lvl2pPr>
            <a:lvl3pPr marL="411480" indent="0">
              <a:lnSpc>
                <a:spcPct val="100000"/>
              </a:lnSpc>
              <a:spcBef>
                <a:spcPts val="450"/>
              </a:spcBef>
              <a:buNone/>
              <a:defRPr/>
            </a:lvl3pPr>
            <a:lvl4pPr marL="557213" indent="0">
              <a:lnSpc>
                <a:spcPct val="100000"/>
              </a:lnSpc>
              <a:spcBef>
                <a:spcPts val="450"/>
              </a:spcBef>
              <a:buNone/>
              <a:defRPr/>
            </a:lvl4pPr>
            <a:lvl5pPr marL="694373" indent="0">
              <a:lnSpc>
                <a:spcPct val="100000"/>
              </a:lnSpc>
              <a:spcBef>
                <a:spcPts val="450"/>
              </a:spcBef>
              <a:buNone/>
              <a:defRPr sz="750"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</p:spPr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D96FD484-7585-4DE7-AA01-D6E50E5FD7B0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4194941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9011419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/>
            </a:lvl1pPr>
            <a:lvl2pPr marL="54864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 marL="82296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 marL="109728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 marL="137160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000"/>
            </a:lvl5pPr>
            <a:lvl6pPr marL="1645920" indent="-274320">
              <a:spcBef>
                <a:spcPts val="600"/>
              </a:spcBef>
              <a:spcAft>
                <a:spcPts val="600"/>
              </a:spcAft>
              <a:defRPr/>
            </a:lvl6pPr>
            <a:lvl7pPr marL="1920240" indent="-274320">
              <a:spcBef>
                <a:spcPts val="600"/>
              </a:spcBef>
              <a:spcAft>
                <a:spcPts val="600"/>
              </a:spcAft>
              <a:defRPr/>
            </a:lvl7pPr>
            <a:lvl8pPr marL="2194560" indent="-274320">
              <a:spcBef>
                <a:spcPts val="600"/>
              </a:spcBef>
              <a:spcAft>
                <a:spcPts val="600"/>
              </a:spcAft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45F568F9-2683-4D73-B867-5AEF0061B8D1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</p:spPr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17984" y="1271588"/>
            <a:ext cx="5237913" cy="47037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9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6" y="1272212"/>
            <a:ext cx="5272325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/>
            </a:lvl1pPr>
            <a:lvl2pPr marL="54864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 marL="82296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 marL="109728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 marL="137160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000"/>
            </a:lvl5pPr>
            <a:lvl6pPr marL="1645920" indent="-274320">
              <a:spcBef>
                <a:spcPts val="600"/>
              </a:spcBef>
              <a:spcAft>
                <a:spcPts val="600"/>
              </a:spcAft>
              <a:defRPr/>
            </a:lvl6pPr>
            <a:lvl7pPr marL="1920240" indent="-274320">
              <a:spcBef>
                <a:spcPts val="600"/>
              </a:spcBef>
              <a:spcAft>
                <a:spcPts val="600"/>
              </a:spcAft>
              <a:defRPr/>
            </a:lvl7pPr>
            <a:lvl8pPr marL="2194560" indent="-274320">
              <a:spcBef>
                <a:spcPts val="600"/>
              </a:spcBef>
              <a:spcAft>
                <a:spcPts val="600"/>
              </a:spcAft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088DBADD-80EB-4BAF-8DFB-4441BC0F37C5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61475204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6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243385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5C424C80-5DCD-4620-8490-2768F33C7AE6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70486041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able Placeholder 10"/>
          <p:cNvSpPr>
            <a:spLocks noGrp="1"/>
          </p:cNvSpPr>
          <p:nvPr>
            <p:ph type="tbl" sz="quarter" idx="13"/>
          </p:nvPr>
        </p:nvSpPr>
        <p:spPr>
          <a:xfrm>
            <a:off x="636105" y="1263665"/>
            <a:ext cx="10919792" cy="4711692"/>
          </a:xfrm>
        </p:spPr>
        <p:txBody>
          <a:bodyPr anchor="t" anchorCtr="0"/>
          <a:lstStyle>
            <a:lvl1pPr marL="0" indent="0">
              <a:buNone/>
              <a:defRPr/>
            </a:lvl1pPr>
          </a:lstStyle>
          <a:p>
            <a:r>
              <a:rPr lang="fr-FR"/>
              <a:t>Cliquez sur l'icône pour ajouter un tableau</a:t>
            </a:r>
            <a:endParaRPr lang="en-US" dirty="0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73852EC9-F0B0-44B1-9FE7-E87EC14ADE79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93033922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CLEA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D29CDFE-F798-BD0E-F7B8-831D094824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7F66676F-ED44-880D-23F8-A2E762CF9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8388350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F8DCAB59-D7AE-5F69-3CFC-66CCF890B682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11F0402-09E8-7FE8-EE15-4CF723E00B8E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AB8AD7BD-1F5A-8B90-53A7-AC14105C05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C56721ED-D414-EDF8-708E-724EC308B2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9567131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61027566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30" imgW="0" imgH="0" progId="TCLayout.ActiveDocument.1">
                  <p:embed/>
                </p:oleObj>
              </mc:Choice>
              <mc:Fallback>
                <p:oleObj name="think-cell Slide" r:id="rId30" imgW="0" imgH="0" progId="TCLayout.ActiveDocument.1">
                  <p:embed/>
                  <p:pic>
                    <p:nvPicPr>
                      <p:cNvPr id="15" name="Object 1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104" y="1285462"/>
            <a:ext cx="10919792" cy="468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05740" lvl="0" indent="-205740">
              <a:spcBef>
                <a:spcPts val="900"/>
              </a:spcBef>
            </a:pPr>
            <a:r>
              <a:rPr lang="fr-FR"/>
              <a:t>Modifier les styles du texte du masque</a:t>
            </a:r>
          </a:p>
          <a:p>
            <a:pPr marL="205740" lvl="1" indent="-205740">
              <a:spcBef>
                <a:spcPts val="900"/>
              </a:spcBef>
            </a:pPr>
            <a:r>
              <a:rPr lang="fr-FR"/>
              <a:t>Deuxième niveau</a:t>
            </a:r>
          </a:p>
          <a:p>
            <a:pPr marL="205740" lvl="2" indent="-205740">
              <a:spcBef>
                <a:spcPts val="900"/>
              </a:spcBef>
            </a:pPr>
            <a:r>
              <a:rPr lang="fr-FR"/>
              <a:t>Troisième niveau</a:t>
            </a:r>
          </a:p>
          <a:p>
            <a:pPr marL="205740" lvl="3" indent="-205740">
              <a:spcBef>
                <a:spcPts val="900"/>
              </a:spcBef>
            </a:pPr>
            <a:r>
              <a:rPr lang="fr-FR"/>
              <a:t>Quatrième niveau</a:t>
            </a:r>
          </a:p>
          <a:p>
            <a:pPr marL="205740" lvl="4" indent="-205740">
              <a:spcBef>
                <a:spcPts val="900"/>
              </a:spcBef>
            </a:pPr>
            <a:r>
              <a:rPr lang="fr-FR"/>
              <a:t>Cinquième niveau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4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24F66902-87F4-4757-BF32-F666686F52D8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A1FD88-A6E6-8119-40FC-44372482DF02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628737" y="6434431"/>
            <a:ext cx="1317909" cy="25895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91" r:id="rId1"/>
    <p:sldLayoutId id="2147485192" r:id="rId2"/>
    <p:sldLayoutId id="2147485123" r:id="rId3"/>
    <p:sldLayoutId id="2147485127" r:id="rId4"/>
    <p:sldLayoutId id="2147485086" r:id="rId5"/>
    <p:sldLayoutId id="2147485132" r:id="rId6"/>
    <p:sldLayoutId id="2147485096" r:id="rId7"/>
    <p:sldLayoutId id="2147485131" r:id="rId8"/>
    <p:sldLayoutId id="2147485188" r:id="rId9"/>
    <p:sldLayoutId id="2147485169" r:id="rId10"/>
    <p:sldLayoutId id="2147485178" r:id="rId11"/>
    <p:sldLayoutId id="2147485183" r:id="rId12"/>
    <p:sldLayoutId id="2147485152" r:id="rId13"/>
    <p:sldLayoutId id="2147485190" r:id="rId14"/>
    <p:sldLayoutId id="2147485177" r:id="rId15"/>
    <p:sldLayoutId id="2147485182" r:id="rId16"/>
    <p:sldLayoutId id="2147485184" r:id="rId17"/>
    <p:sldLayoutId id="2147485174" r:id="rId18"/>
    <p:sldLayoutId id="2147485179" r:id="rId19"/>
    <p:sldLayoutId id="2147485185" r:id="rId20"/>
    <p:sldLayoutId id="2147485175" r:id="rId21"/>
    <p:sldLayoutId id="2147485180" r:id="rId22"/>
    <p:sldLayoutId id="2147485186" r:id="rId23"/>
    <p:sldLayoutId id="2147485176" r:id="rId24"/>
    <p:sldLayoutId id="2147485181" r:id="rId25"/>
    <p:sldLayoutId id="2147485187" r:id="rId26"/>
  </p:sldLayoutIdLst>
  <p:transition/>
  <p:hf hdr="0"/>
  <p:txStyles>
    <p:titleStyle>
      <a:lvl1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400" b="1" kern="1200">
          <a:solidFill>
            <a:schemeClr val="accent1"/>
          </a:solidFill>
          <a:latin typeface="Rubik" pitchFamily="2" charset="-79"/>
          <a:ea typeface="Rubik" pitchFamily="2" charset="-79"/>
          <a:cs typeface="Rubik" pitchFamily="2" charset="-79"/>
        </a:defRPr>
      </a:lvl1pPr>
      <a:lvl2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2pPr>
      <a:lvl3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3pPr>
      <a:lvl4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4pPr>
      <a:lvl5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5pPr>
      <a:lvl6pPr marL="3429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6pPr>
      <a:lvl7pPr marL="6858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7pPr>
      <a:lvl8pPr marL="10287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8pPr>
      <a:lvl9pPr marL="13716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9pPr>
    </p:titleStyle>
    <p:bodyStyle>
      <a:lvl1pPr marL="274320" indent="-274320" algn="l" defTabSz="704850" rtl="0" eaLnBrk="1" fontAlgn="base" hangingPunct="1">
        <a:lnSpc>
          <a:spcPct val="100000"/>
        </a:lnSpc>
        <a:spcBef>
          <a:spcPts val="1200"/>
        </a:spcBef>
        <a:spcAft>
          <a:spcPts val="12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6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Noto Sans" panose="020B0502040504020204" pitchFamily="34" charset="0"/>
        </a:defRPr>
      </a:lvl1pPr>
      <a:lvl2pPr marL="351235" indent="-214313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4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2pPr>
      <a:lvl3pPr marL="398859" indent="-128588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3pPr>
      <a:lvl4pPr marL="534591" indent="-128588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4pPr>
      <a:lvl5pPr marL="753665" indent="-128588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000" i="0" kern="1200" dirty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Noto Sans" panose="020B0502040504020204" pitchFamily="34" charset="0"/>
        </a:defRPr>
      </a:lvl5pPr>
      <a:lvl6pPr marL="10691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6pPr>
      <a:lvl7pPr marL="14120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7pPr>
      <a:lvl8pPr marL="17549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8pPr>
      <a:lvl9pPr marL="20978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99" userDrawn="1">
          <p15:clr>
            <a:srgbClr val="F26B43"/>
          </p15:clr>
        </p15:guide>
        <p15:guide id="4" orient="horz" pos="618" userDrawn="1">
          <p15:clr>
            <a:srgbClr val="F26B43"/>
          </p15:clr>
        </p15:guide>
        <p15:guide id="5" orient="horz" pos="4042" userDrawn="1">
          <p15:clr>
            <a:srgbClr val="F26B43"/>
          </p15:clr>
        </p15:guide>
        <p15:guide id="6" orient="horz" pos="3861" userDrawn="1">
          <p15:clr>
            <a:srgbClr val="F26B43"/>
          </p15:clr>
        </p15:guide>
        <p15:guide id="7" pos="7287" userDrawn="1">
          <p15:clr>
            <a:srgbClr val="F26B43"/>
          </p15:clr>
        </p15:guide>
        <p15:guide id="8" pos="3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69E805-A634-90F6-0AE6-B834E859F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98379" y="888310"/>
            <a:ext cx="8599252" cy="2358348"/>
          </a:xfrm>
        </p:spPr>
        <p:txBody>
          <a:bodyPr/>
          <a:lstStyle/>
          <a:p>
            <a:pPr algn="r" rtl="1">
              <a:lnSpc>
                <a:spcPct val="100000"/>
              </a:lnSpc>
            </a:pPr>
            <a:r>
              <a:rPr lang="en-GB" dirty="0"/>
              <a:t> </a:t>
            </a:r>
            <a:r>
              <a:rPr lang="ar-DZ" dirty="0">
                <a:cs typeface="+mj-cs"/>
              </a:rPr>
              <a:t>نموذج مخطط الأعمال</a:t>
            </a:r>
            <a:endParaRPr lang="en-GB" dirty="0">
              <a:cs typeface="+mj-cs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7164A25-0671-4A4E-8D00-40CECB7E34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72855" y="3429000"/>
            <a:ext cx="3924777" cy="614855"/>
          </a:xfrm>
        </p:spPr>
        <p:txBody>
          <a:bodyPr/>
          <a:lstStyle/>
          <a:p>
            <a:pPr algn="r" rtl="1"/>
            <a:r>
              <a:rPr lang="ar-DZ" dirty="0">
                <a:cs typeface="+mj-cs"/>
              </a:rPr>
              <a:t>اسم المشروع</a:t>
            </a:r>
            <a:endParaRPr lang="en-GB" dirty="0"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579417054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تعريف الخصائص التي تجعل الحل المقترح أفضل من الحلول الموجودة.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هل الحل المقترح أقل كلفة؟ أسرع؟ أفضل؟ متوفر؟ سهل الاستعمال، إلخ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خصائص المميزة للحل المقترح 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850157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تعريف المنهج المعتمد للوصول إلى الزبائن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بيع المباشر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بيع غير المباشر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بيع عن طريق الموزعين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بيع عبر الإنترنت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عمل بالتعاون مع شركاء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...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ستراتيجية دخول السوق 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985336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تحديد كيفية الدفع مقابل الحلول المقترحة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دفع رخصة نهائية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نموذج الإيجار</a:t>
            </a:r>
            <a:r>
              <a:rPr lang="ar-DZ" dirty="0">
                <a:solidFill>
                  <a:srgbClr val="FF0000"/>
                </a:solidFill>
                <a:latin typeface="OoredooArabic-Heavy" panose="01000500000000020006" pitchFamily="2" charset="-78"/>
                <a:cs typeface="OoredooArabic-Heavy" panose="01000500000000020006" pitchFamily="2" charset="-78"/>
              </a:rPr>
              <a:t>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نموذج المساعدة المالية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DZ" dirty="0"/>
              <a:t>نموذج الأعمال 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456481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>
          <a:xfrm>
            <a:off x="636105" y="830180"/>
            <a:ext cx="10919792" cy="5145178"/>
          </a:xfrm>
        </p:spPr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تقديم التمويلات المفصلة الخاصة بالثلاثة أو الخمسة سنوات المقبلة (الأرقام السنوية).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رقم الأعمال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كلفة الأصول المباعة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هامش الربح الإجمالي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تكاليف البحث والتطوير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تكاليف البيع والتسويق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تكاليف الإجمالية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ناتج الخام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ضرائب واستهلاك الأصول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ناتج الصافي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مصاريف الاستثمار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643203"/>
          </a:xfrm>
        </p:spPr>
        <p:txBody>
          <a:bodyPr/>
          <a:lstStyle/>
          <a:p>
            <a:pPr algn="r" rtl="1"/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تمويلات المفصلة 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008349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ذكر ما إذا سبق أن قامت صاحبة المشروع بتأسيس مؤسسة، هل لديها علامة تجارية أو هل حصلت على أي تمويل.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وضع القانوني للمؤسسة 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901606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2427779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>
          <a:xfrm>
            <a:off x="636105" y="756458"/>
            <a:ext cx="10919792" cy="5569527"/>
          </a:xfrm>
        </p:spPr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السير الذاتية للفريق</a:t>
            </a:r>
          </a:p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تعريف الحل والمشكلة المطلوب حلها</a:t>
            </a:r>
          </a:p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الحلول الحالية والحلول المقترحة</a:t>
            </a:r>
          </a:p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حجم السوق</a:t>
            </a:r>
          </a:p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استراتيجية دخول السوق</a:t>
            </a:r>
          </a:p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خارطة طريق خاصة بالمنتج</a:t>
            </a:r>
          </a:p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العملاء المستهدفون</a:t>
            </a:r>
          </a:p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تعريف المتنافسين </a:t>
            </a:r>
          </a:p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الخصائص المميزة للحل المقترح</a:t>
            </a:r>
          </a:p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نموذج خطة العمل</a:t>
            </a:r>
          </a:p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تمويل مفصل</a:t>
            </a:r>
          </a:p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الوضع القانوني للمؤسسة </a:t>
            </a:r>
            <a:endParaRPr lang="fr-FR" dirty="0">
              <a:cs typeface="+mj-cs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590045"/>
          </a:xfrm>
        </p:spPr>
        <p:txBody>
          <a:bodyPr/>
          <a:lstStyle/>
          <a:p>
            <a:pPr algn="r" rtl="1"/>
            <a:r>
              <a:rPr lang="ar-DZ" dirty="0"/>
              <a:t>قائمة المحتويات 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4682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cs typeface="+mj-cs"/>
              </a:rPr>
              <a:t>وصف موجز لكل عضو من أعضاء الفريق </a:t>
            </a:r>
          </a:p>
          <a:p>
            <a:pPr marL="491490" lvl="1" indent="-285750" algn="r" rtl="1">
              <a:buFont typeface="Wingdings" panose="05000000000000000000" pitchFamily="2" charset="2"/>
              <a:buChar char="§"/>
            </a:pPr>
            <a:r>
              <a:rPr lang="ar-DZ" sz="1600" dirty="0">
                <a:cs typeface="+mj-cs"/>
              </a:rPr>
              <a:t>المسار التكويني </a:t>
            </a:r>
          </a:p>
          <a:p>
            <a:pPr marL="491490" lvl="1" indent="-285750" algn="r" rtl="1">
              <a:buFont typeface="Wingdings" panose="05000000000000000000" pitchFamily="2" charset="2"/>
              <a:buChar char="§"/>
            </a:pPr>
            <a:r>
              <a:rPr lang="ar-DZ" sz="1600" dirty="0">
                <a:cs typeface="+mj-cs"/>
              </a:rPr>
              <a:t>المسار المهني</a:t>
            </a:r>
          </a:p>
          <a:p>
            <a:pPr marL="491490" lvl="1" indent="-285750" algn="r" rtl="1">
              <a:buFont typeface="Wingdings" panose="05000000000000000000" pitchFamily="2" charset="2"/>
              <a:buChar char="§"/>
            </a:pPr>
            <a:r>
              <a:rPr lang="ar-DZ" sz="1600" dirty="0">
                <a:cs typeface="+mj-cs"/>
              </a:rPr>
              <a:t>الخبرة </a:t>
            </a:r>
          </a:p>
          <a:p>
            <a:pPr algn="r" rtl="1"/>
            <a:r>
              <a:rPr lang="ar-DZ" dirty="0">
                <a:cs typeface="+mj-cs"/>
              </a:rPr>
              <a:t>يتعين على صاحبة المشروع تقديم نفسها وعرض خلفية كل عضو من أعضاء فريقها بما في ذلك خلفيتها</a:t>
            </a:r>
            <a:endParaRPr lang="fr-FR" dirty="0">
              <a:cs typeface="+mj-cs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DZ" dirty="0"/>
              <a:t>السير الذاتية للفريق 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084094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cs typeface="+mj-cs"/>
              </a:rPr>
              <a:t>ماهية الطلب الحالي للحل الذي تقترحه صاحبة المشروع على مستوى السوق </a:t>
            </a:r>
            <a:endParaRPr lang="fr-FR" dirty="0">
              <a:cs typeface="+mj-cs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DZ" dirty="0"/>
              <a:t>احتياجات السوق 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894722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>
          <a:xfrm>
            <a:off x="636105" y="1272212"/>
            <a:ext cx="10919792" cy="4703145"/>
          </a:xfrm>
        </p:spPr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cs typeface="+mj-cs"/>
              </a:rPr>
              <a:t>تعريف الحلول المتوفرة حاليًا لتلبية احتياجات السوق المذكورة أعلاه.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cs typeface="+mj-cs"/>
              </a:rPr>
              <a:t>لماذا لا تعتبر هذه الحلول مرضية أو هل هي مكلفة أو لم تلق رواجًا لدى الزبائن.</a:t>
            </a:r>
            <a:endParaRPr lang="fr-FR" dirty="0">
              <a:cs typeface="+mj-cs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حلول الحالية 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160267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 algn="r" rt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تعريف الحل التكنولوجي المقترح من قبل صاحبة المشروع وكيف يلبي احتياجات السوق المذكورة أعلاه مع ذكر القيمة المضافة للمنتجات أو الخدمات المقترحة. </a:t>
            </a:r>
          </a:p>
          <a:p>
            <a:pPr marL="285750" indent="-285750" algn="r" rt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تقديم وصفي تقني للحل المقترح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DZ" dirty="0"/>
              <a:t>الحلول المقترحة 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167981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تعريف المنتج (المنتجات) والخدمة (الخدمات) المرغوب في تطويرها.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تنظيم دورة الشراء للتعريف بمختلف خصائص المنتج. 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خارطة طريق خاصة بالمنتج 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492363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cs typeface="+mj-cs"/>
              </a:rPr>
              <a:t>تعريف الزبائن الذين ترغب صاحبة المشروع في بيع الحل المقترح لهم: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endParaRPr lang="ar-DZ" dirty="0">
              <a:cs typeface="+mj-cs"/>
            </a:endParaRPr>
          </a:p>
          <a:p>
            <a:pPr marL="491490" lvl="1" indent="-285750" algn="r" rtl="1">
              <a:buFont typeface="Wingdings" panose="05000000000000000000" pitchFamily="2" charset="2"/>
              <a:buChar char="§"/>
            </a:pPr>
            <a:r>
              <a:rPr lang="ar-DZ" sz="1600" dirty="0">
                <a:cs typeface="+mj-cs"/>
              </a:rPr>
              <a:t>الموقع الجغرافي للسوق</a:t>
            </a:r>
          </a:p>
          <a:p>
            <a:pPr marL="491490" lvl="1" indent="-285750" algn="r" rtl="1">
              <a:buFont typeface="Wingdings" panose="05000000000000000000" pitchFamily="2" charset="2"/>
              <a:buChar char="§"/>
            </a:pPr>
            <a:r>
              <a:rPr lang="ar-DZ" sz="1600" dirty="0">
                <a:cs typeface="+mj-cs"/>
              </a:rPr>
              <a:t>الصناعة </a:t>
            </a:r>
          </a:p>
          <a:p>
            <a:pPr marL="491490" lvl="1" indent="-285750" algn="r" rtl="1">
              <a:buFont typeface="Wingdings" panose="05000000000000000000" pitchFamily="2" charset="2"/>
              <a:buChar char="§"/>
            </a:pPr>
            <a:r>
              <a:rPr lang="ar-DZ" sz="1600" dirty="0">
                <a:cs typeface="+mj-cs"/>
              </a:rPr>
              <a:t>حجم الزبائن </a:t>
            </a:r>
          </a:p>
          <a:p>
            <a:pPr marL="491490" lvl="1" indent="-285750" algn="r" rtl="1">
              <a:buFont typeface="Wingdings" panose="05000000000000000000" pitchFamily="2" charset="2"/>
              <a:buChar char="§"/>
            </a:pPr>
            <a:r>
              <a:rPr lang="ar-DZ" sz="1600" dirty="0">
                <a:cs typeface="+mj-cs"/>
              </a:rPr>
              <a:t>الزبائن الخواص مقابل المحترفين أو الإدارات/الحكومة</a:t>
            </a:r>
          </a:p>
          <a:p>
            <a:pPr marL="491490" lvl="1" indent="-285750" algn="r" rtl="1">
              <a:buFont typeface="Wingdings" panose="05000000000000000000" pitchFamily="2" charset="2"/>
              <a:buChar char="§"/>
            </a:pPr>
            <a:r>
              <a:rPr lang="ar-DZ" sz="1600" dirty="0">
                <a:cs typeface="+mj-cs"/>
              </a:rPr>
              <a:t>عدد الزبائن الموجودين </a:t>
            </a:r>
          </a:p>
          <a:p>
            <a:pPr marL="491490" lvl="1" indent="-285750" algn="r" rtl="1">
              <a:buFont typeface="Wingdings" panose="05000000000000000000" pitchFamily="2" charset="2"/>
              <a:buChar char="§"/>
            </a:pPr>
            <a:r>
              <a:rPr lang="ar-DZ" sz="1600" dirty="0">
                <a:cs typeface="+mj-cs"/>
              </a:rPr>
              <a:t>حجم السوق </a:t>
            </a:r>
            <a:endParaRPr lang="fr-FR" sz="1600" dirty="0">
              <a:cs typeface="+mj-cs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DZ" dirty="0"/>
              <a:t>الزبائن المستهدفين 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009575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تعريف المنافسين وماهية العروض التي يقدمونها مع تحديد وضعية صاحبة المشروع مقارنة بهم.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DZ" dirty="0"/>
              <a:t>تعريف المنافسين  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501189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8.05_20170507_Ooredoo_template_4x3 ratio_v12">
  <a:themeElements>
    <a:clrScheme name="OOREDOO OLD">
      <a:dk1>
        <a:srgbClr val="221E20"/>
      </a:dk1>
      <a:lt1>
        <a:srgbClr val="FFFFFF"/>
      </a:lt1>
      <a:dk2>
        <a:srgbClr val="00416A"/>
      </a:dk2>
      <a:lt2>
        <a:srgbClr val="DFDFE1"/>
      </a:lt2>
      <a:accent1>
        <a:srgbClr val="ED1C24"/>
      </a:accent1>
      <a:accent2>
        <a:srgbClr val="333F48"/>
      </a:accent2>
      <a:accent3>
        <a:srgbClr val="65C4DB"/>
      </a:accent3>
      <a:accent4>
        <a:srgbClr val="99CC00"/>
      </a:accent4>
      <a:accent5>
        <a:srgbClr val="EA9600"/>
      </a:accent5>
      <a:accent6>
        <a:srgbClr val="FFD500"/>
      </a:accent6>
      <a:hlink>
        <a:srgbClr val="2CD5C4"/>
      </a:hlink>
      <a:folHlink>
        <a:srgbClr val="F5A992"/>
      </a:folHlink>
    </a:clrScheme>
    <a:fontScheme name="Custom 43">
      <a:majorFont>
        <a:latin typeface="Rubik"/>
        <a:ea typeface=""/>
        <a:cs typeface="OoredooArabic-Heavy"/>
      </a:majorFont>
      <a:minorFont>
        <a:latin typeface="Noto Sans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D1C24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79488" rtl="0" eaLnBrk="1" fontAlgn="base" latinLnBrk="0" hangingPunct="1">
          <a:lnSpc>
            <a:spcPct val="110000"/>
          </a:lnSpc>
          <a:spcBef>
            <a:spcPts val="6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1600" b="1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noFill/>
        <a:ln w="19050" cap="flat" cmpd="sng" algn="ctr">
          <a:solidFill>
            <a:srgbClr val="ED1C2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>
          <a:spcBef>
            <a:spcPts val="0"/>
          </a:spcBef>
          <a:spcAft>
            <a:spcPts val="0"/>
          </a:spcAft>
          <a:buClr>
            <a:srgbClr val="ED1C24"/>
          </a:buClr>
          <a:buSzPct val="140000"/>
          <a:defRPr sz="1200" smtClean="0">
            <a:solidFill>
              <a:srgbClr val="000000"/>
            </a:solidFill>
            <a:latin typeface="Noto Sans" panose="020B0502040504020204" pitchFamily="34" charset="0"/>
          </a:defRPr>
        </a:defPPr>
      </a:lstStyle>
    </a:txDef>
  </a:objectDefaults>
  <a:extraClrSchemeLst>
    <a:extraClrScheme>
      <a:clrScheme name="Blank 1">
        <a:dk1>
          <a:srgbClr val="3F3F3F"/>
        </a:dk1>
        <a:lt1>
          <a:srgbClr val="FFFFFF"/>
        </a:lt1>
        <a:dk2>
          <a:srgbClr val="FDE48B"/>
        </a:dk2>
        <a:lt2>
          <a:srgbClr val="888888"/>
        </a:lt2>
        <a:accent1>
          <a:srgbClr val="7FABD2"/>
        </a:accent1>
        <a:accent2>
          <a:srgbClr val="FCC917"/>
        </a:accent2>
        <a:accent3>
          <a:srgbClr val="FFFFFF"/>
        </a:accent3>
        <a:accent4>
          <a:srgbClr val="343434"/>
        </a:accent4>
        <a:accent5>
          <a:srgbClr val="C0D2E5"/>
        </a:accent5>
        <a:accent6>
          <a:srgbClr val="E4B614"/>
        </a:accent6>
        <a:hlink>
          <a:srgbClr val="BFD5E9"/>
        </a:hlink>
        <a:folHlink>
          <a:srgbClr val="7BBE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1">
      <a:srgbClr val="F7EA48"/>
    </a:custClr>
    <a:custClr name="C2">
      <a:srgbClr val="FFBF3F"/>
    </a:custClr>
    <a:custClr name="C3">
      <a:srgbClr val="FA4616"/>
    </a:custClr>
    <a:custClr name="C4">
      <a:srgbClr val="ECB3CB"/>
    </a:custClr>
    <a:custClr name="C5">
      <a:srgbClr val="EB6FBD"/>
    </a:custClr>
    <a:custClr name="C6">
      <a:srgbClr val="D64C97"/>
    </a:custClr>
    <a:custClr name="C7">
      <a:srgbClr val="840B55"/>
    </a:custClr>
    <a:custClr name="C20">
      <a:srgbClr val="BCA2CD"/>
    </a:custClr>
    <a:custClr name="C18">
      <a:srgbClr val="AC4FBD"/>
    </a:custClr>
    <a:custClr name="C19">
      <a:srgbClr val="3C1053"/>
    </a:custClr>
    <a:custClr name="C8">
      <a:srgbClr val="8DC8E8"/>
    </a:custClr>
    <a:custClr name="C9">
      <a:srgbClr val="13AFEE"/>
    </a:custClr>
    <a:custClr name="C10">
      <a:srgbClr val="001E60"/>
    </a:custClr>
    <a:custClr name="C11">
      <a:srgbClr val="9BD7D3"/>
    </a:custClr>
    <a:custClr name="C15">
      <a:srgbClr val="B3D99E"/>
    </a:custClr>
    <a:custClr name="C14">
      <a:srgbClr val="78BE20"/>
    </a:custClr>
    <a:custClr name="C17">
      <a:srgbClr val="64A70B"/>
    </a:custClr>
    <a:custClr name="C12">
      <a:srgbClr val="00C7B1"/>
    </a:custClr>
    <a:custClr name="C16">
      <a:srgbClr val="046A38"/>
    </a:custClr>
    <a:custClr name="C13">
      <a:srgbClr val="004E42"/>
    </a:custClr>
    <a:custClr name="C23">
      <a:srgbClr val="A6BBC8"/>
    </a:custClr>
    <a:custClr name="C22">
      <a:srgbClr val="425563"/>
    </a:custClr>
    <a:custClr name="C25">
      <a:srgbClr val="CDB5A7"/>
    </a:custClr>
    <a:custClr name="C24">
      <a:srgbClr val="83786F"/>
    </a:custClr>
  </a:custClrLst>
  <a:extLst>
    <a:ext uri="{05A4C25C-085E-4340-85A3-A5531E510DB2}">
      <thm15:themeFamily xmlns:thm15="http://schemas.microsoft.com/office/thememl/2012/main" name="Presentation2" id="{C5EB3E7B-30E3-43E9-B315-155B2AA85B08}" vid="{1AFF14E4-5BBB-40FD-A667-DB96A7C00D3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553f85c-2140-41fd-927f-4e7c6dc2d23b">
      <Terms xmlns="http://schemas.microsoft.com/office/infopath/2007/PartnerControls"/>
    </lcf76f155ced4ddcb4097134ff3c332f>
    <TaxCatchAll xmlns="779144b8-0ba4-45d2-98b8-9b7ee9b99d15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1A9E4932BA174BBCD6A4A4F028F96F" ma:contentTypeVersion="14" ma:contentTypeDescription="Create a new document." ma:contentTypeScope="" ma:versionID="d5c3f14d0bb590ebd9f833e178653ef5">
  <xsd:schema xmlns:xsd="http://www.w3.org/2001/XMLSchema" xmlns:xs="http://www.w3.org/2001/XMLSchema" xmlns:p="http://schemas.microsoft.com/office/2006/metadata/properties" xmlns:ns2="8553f85c-2140-41fd-927f-4e7c6dc2d23b" xmlns:ns3="779144b8-0ba4-45d2-98b8-9b7ee9b99d15" targetNamespace="http://schemas.microsoft.com/office/2006/metadata/properties" ma:root="true" ma:fieldsID="44d4dcc799133b03cbca001a258ad66b" ns2:_="" ns3:_="">
    <xsd:import namespace="8553f85c-2140-41fd-927f-4e7c6dc2d23b"/>
    <xsd:import namespace="779144b8-0ba4-45d2-98b8-9b7ee9b99d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53f85c-2140-41fd-927f-4e7c6dc2d23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607c7a8d-70f1-4e74-8305-1ff3e7e75b9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9144b8-0ba4-45d2-98b8-9b7ee9b99d15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92e34d4b-ae2f-4848-bd6c-453fc879838f}" ma:internalName="TaxCatchAll" ma:showField="CatchAllData" ma:web="779144b8-0ba4-45d2-98b8-9b7ee9b99d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7974A0B-00EF-4C52-89B3-39EE0348B7EA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purl.org/dc/dcmitype/"/>
    <ds:schemaRef ds:uri="8ea3651e-ccd1-419c-8aac-7d20600c18b9"/>
    <ds:schemaRef ds:uri="34b83fb1-aab1-4420-8adc-8a3d0b6d3b69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E7A8CD0-77A6-4790-9380-C7B6996BDB74}"/>
</file>

<file path=customXml/itemProps3.xml><?xml version="1.0" encoding="utf-8"?>
<ds:datastoreItem xmlns:ds="http://schemas.openxmlformats.org/officeDocument/2006/customXml" ds:itemID="{945125EB-A3E3-4DDA-9F64-50DC2B1F461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OOREDOO_040922</Template>
  <TotalTime>412</TotalTime>
  <Words>387</Words>
  <Application>Microsoft Office PowerPoint</Application>
  <PresentationFormat>Grand écran</PresentationFormat>
  <Paragraphs>99</Paragraphs>
  <Slides>15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5" baseType="lpstr">
      <vt:lpstr>Noto Sans</vt:lpstr>
      <vt:lpstr>Rubik SemiBold</vt:lpstr>
      <vt:lpstr>OoredooArabic-Heavy</vt:lpstr>
      <vt:lpstr>Arial</vt:lpstr>
      <vt:lpstr>Rubik</vt:lpstr>
      <vt:lpstr>Outfit ExtraBold</vt:lpstr>
      <vt:lpstr>Calibri</vt:lpstr>
      <vt:lpstr>Wingdings</vt:lpstr>
      <vt:lpstr>08.05_20170507_Ooredoo_template_4x3 ratio_v12</vt:lpstr>
      <vt:lpstr>think-cell Slide</vt:lpstr>
      <vt:lpstr> نموذج مخطط الأعمال</vt:lpstr>
      <vt:lpstr>قائمة المحتويات </vt:lpstr>
      <vt:lpstr>السير الذاتية للفريق </vt:lpstr>
      <vt:lpstr>احتياجات السوق </vt:lpstr>
      <vt:lpstr>الحلول الحالية </vt:lpstr>
      <vt:lpstr>الحلول المقترحة </vt:lpstr>
      <vt:lpstr>خارطة طريق خاصة بالمنتج </vt:lpstr>
      <vt:lpstr>الزبائن المستهدفين </vt:lpstr>
      <vt:lpstr>تعريف المنافسين  </vt:lpstr>
      <vt:lpstr>الخصائص المميزة للحل المقترح </vt:lpstr>
      <vt:lpstr>استراتيجية دخول السوق </vt:lpstr>
      <vt:lpstr>نموذج الأعمال </vt:lpstr>
      <vt:lpstr>التمويلات المفصلة </vt:lpstr>
      <vt:lpstr>الوضع القانوني للمؤسسة 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Hafida GOUCHAM</dc:creator>
  <cp:lastModifiedBy>Sara HALLICHE</cp:lastModifiedBy>
  <cp:revision>30</cp:revision>
  <dcterms:created xsi:type="dcterms:W3CDTF">2022-10-02T13:09:22Z</dcterms:created>
  <dcterms:modified xsi:type="dcterms:W3CDTF">2025-02-25T10:06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1A9E4932BA174BBCD6A4A4F028F96F</vt:lpwstr>
  </property>
  <property fmtid="{D5CDD505-2E9C-101B-9397-08002B2CF9AE}" pid="3" name="MediaServiceImageTags">
    <vt:lpwstr/>
  </property>
  <property fmtid="{D5CDD505-2E9C-101B-9397-08002B2CF9AE}" pid="4" name="MSIP_Label_8b49b266-1ab9-41f3-8ca5-f5bccb742a55_Enabled">
    <vt:lpwstr>true</vt:lpwstr>
  </property>
  <property fmtid="{D5CDD505-2E9C-101B-9397-08002B2CF9AE}" pid="5" name="MSIP_Label_8b49b266-1ab9-41f3-8ca5-f5bccb742a55_SetDate">
    <vt:lpwstr>2022-09-04T10:09:18Z</vt:lpwstr>
  </property>
  <property fmtid="{D5CDD505-2E9C-101B-9397-08002B2CF9AE}" pid="6" name="MSIP_Label_8b49b266-1ab9-41f3-8ca5-f5bccb742a55_Method">
    <vt:lpwstr>Standard</vt:lpwstr>
  </property>
  <property fmtid="{D5CDD505-2E9C-101B-9397-08002B2CF9AE}" pid="7" name="MSIP_Label_8b49b266-1ab9-41f3-8ca5-f5bccb742a55_Name">
    <vt:lpwstr>Restricted</vt:lpwstr>
  </property>
  <property fmtid="{D5CDD505-2E9C-101B-9397-08002B2CF9AE}" pid="8" name="MSIP_Label_8b49b266-1ab9-41f3-8ca5-f5bccb742a55_SiteId">
    <vt:lpwstr>35ce61ea-2a69-4c72-837c-f38de143a7a3</vt:lpwstr>
  </property>
  <property fmtid="{D5CDD505-2E9C-101B-9397-08002B2CF9AE}" pid="9" name="MSIP_Label_8b49b266-1ab9-41f3-8ca5-f5bccb742a55_ActionId">
    <vt:lpwstr>c5712f19-c984-46dd-bab3-273478f32e4b</vt:lpwstr>
  </property>
  <property fmtid="{D5CDD505-2E9C-101B-9397-08002B2CF9AE}" pid="10" name="MSIP_Label_8b49b266-1ab9-41f3-8ca5-f5bccb742a55_ContentBits">
    <vt:lpwstr>1</vt:lpwstr>
  </property>
</Properties>
</file>